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9"/>
  </p:notesMasterIdLst>
  <p:sldIdLst>
    <p:sldId id="307" r:id="rId3"/>
    <p:sldId id="308" r:id="rId4"/>
    <p:sldId id="332" r:id="rId5"/>
    <p:sldId id="258" r:id="rId6"/>
    <p:sldId id="337" r:id="rId7"/>
    <p:sldId id="301" r:id="rId8"/>
    <p:sldId id="327" r:id="rId9"/>
    <p:sldId id="275" r:id="rId10"/>
    <p:sldId id="306" r:id="rId11"/>
    <p:sldId id="328" r:id="rId12"/>
    <p:sldId id="338" r:id="rId13"/>
    <p:sldId id="330" r:id="rId14"/>
    <p:sldId id="339" r:id="rId15"/>
    <p:sldId id="333" r:id="rId16"/>
    <p:sldId id="267" r:id="rId17"/>
    <p:sldId id="336" r:id="rId18"/>
    <p:sldId id="335" r:id="rId19"/>
    <p:sldId id="342" r:id="rId20"/>
    <p:sldId id="341" r:id="rId21"/>
    <p:sldId id="343" r:id="rId22"/>
    <p:sldId id="309" r:id="rId23"/>
    <p:sldId id="322" r:id="rId24"/>
    <p:sldId id="323" r:id="rId25"/>
    <p:sldId id="329" r:id="rId26"/>
    <p:sldId id="325" r:id="rId27"/>
    <p:sldId id="318" r:id="rId2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56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68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User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Request to add personal details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View mini statement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r>
            <a:rPr lang="en-IN" dirty="0" smtClean="0"/>
            <a:t>Request for Check book</a:t>
          </a:r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r>
            <a:rPr lang="en-IN" dirty="0" smtClean="0"/>
            <a:t>Fund Transfer</a:t>
          </a:r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/>
      <dgm:spPr/>
      <dgm:t>
        <a:bodyPr/>
        <a:lstStyle/>
        <a:p>
          <a:r>
            <a:rPr lang="en-IN" dirty="0" smtClean="0"/>
            <a:t>Track Service Request</a:t>
          </a:r>
          <a:endParaRPr lang="en-IN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5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5" custRadScaleRad="93958" custRadScaleInc="600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5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5" custRadScaleRad="152066" custRadScaleInc="1070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51C695-285C-48C7-B152-A664EB02542B}" type="pres">
      <dgm:prSet presAssocID="{D9E2EB92-0DA5-4648-A69C-26B82C1D0905}" presName="parTrans" presStyleLbl="bgSibTrans2D1" presStyleIdx="2" presStyleCnt="5"/>
      <dgm:spPr/>
      <dgm:t>
        <a:bodyPr/>
        <a:lstStyle/>
        <a:p>
          <a:endParaRPr lang="en-US"/>
        </a:p>
      </dgm:t>
    </dgm:pt>
    <dgm:pt modelId="{070E8865-E939-402B-ACC1-7E492C9F957C}" type="pres">
      <dgm:prSet presAssocID="{C84695D3-AE9A-4501-A621-669274CEC8DD}" presName="node" presStyleLbl="node1" presStyleIdx="2" presStyleCnt="5" custRadScaleRad="20351" custRadScaleInc="-406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41A354-717E-4289-9885-C2E2F256F905}" type="pres">
      <dgm:prSet presAssocID="{D363C5A8-91EB-4D75-8DC9-29E46A5D4A7F}" presName="parTrans" presStyleLbl="bgSibTrans2D1" presStyleIdx="3" presStyleCnt="5"/>
      <dgm:spPr/>
      <dgm:t>
        <a:bodyPr/>
        <a:lstStyle/>
        <a:p>
          <a:endParaRPr lang="en-US"/>
        </a:p>
      </dgm:t>
    </dgm:pt>
    <dgm:pt modelId="{306ED78B-8318-45B9-BA8A-B7670E799923}" type="pres">
      <dgm:prSet presAssocID="{5EE888C5-C142-4F81-927B-B90721C1F3E4}" presName="node" presStyleLbl="node1" presStyleIdx="3" presStyleCnt="5" custRadScaleRad="141940" custRadScaleInc="-115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4" presStyleCnt="5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4" presStyleCnt="5" custRadScaleRad="89561" custRadScaleInc="-442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92A70C9-E938-482F-9FD4-AB714F773723}" srcId="{5A7729A2-75B9-4FBC-8844-90F76B1D8C7E}" destId="{374760DF-DB23-4CA2-8759-86847150A20D}" srcOrd="4" destOrd="0" parTransId="{82F82485-D9D4-4AC9-A44B-051857860A87}" sibTransId="{B3AB6E22-FF71-41B9-8C91-C9A7C776B80E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2BE7AA80-146F-428B-A055-15AEF94311AE}" type="presOf" srcId="{D363C5A8-91EB-4D75-8DC9-29E46A5D4A7F}" destId="{4F41A354-717E-4289-9885-C2E2F256F905}" srcOrd="0" destOrd="0" presId="urn:microsoft.com/office/officeart/2005/8/layout/radial4"/>
    <dgm:cxn modelId="{72E41019-23BD-42FC-BD37-03E9662C2428}" srcId="{5A7729A2-75B9-4FBC-8844-90F76B1D8C7E}" destId="{C84695D3-AE9A-4501-A621-669274CEC8DD}" srcOrd="2" destOrd="0" parTransId="{D9E2EB92-0DA5-4648-A69C-26B82C1D0905}" sibTransId="{75687ADF-CBCC-429E-B8E9-43F016C33414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AA674CAA-4A77-4B0A-89CC-62F4264C0214}" type="presOf" srcId="{5EE888C5-C142-4F81-927B-B90721C1F3E4}" destId="{306ED78B-8318-45B9-BA8A-B7670E799923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E03982C5-3BDB-497A-BCA3-2DC08723031D}" srcId="{5A7729A2-75B9-4FBC-8844-90F76B1D8C7E}" destId="{5EE888C5-C142-4F81-927B-B90721C1F3E4}" srcOrd="3" destOrd="0" parTransId="{D363C5A8-91EB-4D75-8DC9-29E46A5D4A7F}" sibTransId="{0DA8AB2B-BB27-4A16-BCAC-A04684A9C39F}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52D547DD-E012-43C9-B790-71281BBA3157}" type="presOf" srcId="{D9E2EB92-0DA5-4648-A69C-26B82C1D0905}" destId="{8351C695-285C-48C7-B152-A664EB02542B}" srcOrd="0" destOrd="0" presId="urn:microsoft.com/office/officeart/2005/8/layout/radial4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925DCAA9-FF2A-4B96-84FA-DD9EDD8938C8}" type="presOf" srcId="{C84695D3-AE9A-4501-A621-669274CEC8DD}" destId="{070E8865-E939-402B-ACC1-7E492C9F957C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  <dgm:cxn modelId="{EDF760F3-D1AB-45D2-BE92-6B45045B1112}" type="presParOf" srcId="{F529A9FE-3A30-478D-8FB5-0EE20CF3B2CD}" destId="{8351C695-285C-48C7-B152-A664EB02542B}" srcOrd="5" destOrd="0" presId="urn:microsoft.com/office/officeart/2005/8/layout/radial4"/>
    <dgm:cxn modelId="{AB258435-7355-4469-9FF4-BC3C582AE1DA}" type="presParOf" srcId="{F529A9FE-3A30-478D-8FB5-0EE20CF3B2CD}" destId="{070E8865-E939-402B-ACC1-7E492C9F957C}" srcOrd="6" destOrd="0" presId="urn:microsoft.com/office/officeart/2005/8/layout/radial4"/>
    <dgm:cxn modelId="{7F61768B-294E-41AA-98C2-C1B4D5228731}" type="presParOf" srcId="{F529A9FE-3A30-478D-8FB5-0EE20CF3B2CD}" destId="{4F41A354-717E-4289-9885-C2E2F256F905}" srcOrd="7" destOrd="0" presId="urn:microsoft.com/office/officeart/2005/8/layout/radial4"/>
    <dgm:cxn modelId="{824F50B3-39CB-4250-AF74-CAE22F0AC409}" type="presParOf" srcId="{F529A9FE-3A30-478D-8FB5-0EE20CF3B2CD}" destId="{306ED78B-8318-45B9-BA8A-B7670E799923}" srcOrd="8" destOrd="0" presId="urn:microsoft.com/office/officeart/2005/8/layout/radial4"/>
    <dgm:cxn modelId="{5A542D42-2172-4052-A4F1-4D23130D9D37}" type="presParOf" srcId="{F529A9FE-3A30-478D-8FB5-0EE20CF3B2CD}" destId="{C2828057-5F65-4707-A76C-46A6588FAB93}" srcOrd="9" destOrd="0" presId="urn:microsoft.com/office/officeart/2005/8/layout/radial4"/>
    <dgm:cxn modelId="{CF8B61D2-9FE0-40E2-8EB0-4DF83CAE5FC6}" type="presParOf" srcId="{F529A9FE-3A30-478D-8FB5-0EE20CF3B2CD}" destId="{36349CBE-CB7C-48FD-83C3-D60F2DB8658D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Admin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reate new account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View overall transactions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129" custLinFactNeighborY="-29355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80745" custRadScaleInc="-45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75917" custRadScaleInc="4592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440843" y="0"/>
          <a:ext cx="947388" cy="9473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600" kern="1200" dirty="0" smtClean="0"/>
            <a:t>User</a:t>
          </a:r>
          <a:endParaRPr lang="en-IN" sz="2600" kern="1200" dirty="0"/>
        </a:p>
      </dsp:txBody>
      <dsp:txXfrm>
        <a:off x="1579585" y="138742"/>
        <a:ext cx="669904" cy="669904"/>
      </dsp:txXfrm>
    </dsp:sp>
    <dsp:sp modelId="{6C299B1E-FF91-4041-B597-AC7D7E336DDB}">
      <dsp:nvSpPr>
        <dsp:cNvPr id="0" name=""/>
        <dsp:cNvSpPr/>
      </dsp:nvSpPr>
      <dsp:spPr>
        <a:xfrm rot="8170788">
          <a:off x="453611" y="1145819"/>
          <a:ext cx="1239707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176221" y="1350000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Request to add personal details</a:t>
          </a:r>
          <a:endParaRPr lang="en-IN" sz="1200" kern="1200" dirty="0"/>
        </a:p>
      </dsp:txBody>
      <dsp:txXfrm>
        <a:off x="197310" y="1371089"/>
        <a:ext cx="857841" cy="677837"/>
      </dsp:txXfrm>
    </dsp:sp>
    <dsp:sp modelId="{BC821710-D8D6-44B3-AE70-1FB80AE0FF86}">
      <dsp:nvSpPr>
        <dsp:cNvPr id="0" name=""/>
        <dsp:cNvSpPr/>
      </dsp:nvSpPr>
      <dsp:spPr>
        <a:xfrm rot="10505932">
          <a:off x="448288" y="424059"/>
          <a:ext cx="941416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0" y="239270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View mini statement</a:t>
          </a:r>
          <a:endParaRPr lang="en-IN" sz="1200" kern="1200" dirty="0"/>
        </a:p>
      </dsp:txBody>
      <dsp:txXfrm>
        <a:off x="21089" y="260359"/>
        <a:ext cx="857841" cy="677837"/>
      </dsp:txXfrm>
    </dsp:sp>
    <dsp:sp modelId="{8351C695-285C-48C7-B152-A664EB02542B}">
      <dsp:nvSpPr>
        <dsp:cNvPr id="0" name=""/>
        <dsp:cNvSpPr/>
      </dsp:nvSpPr>
      <dsp:spPr>
        <a:xfrm rot="5744805">
          <a:off x="1353591" y="1323059"/>
          <a:ext cx="923763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70E8865-E939-402B-ACC1-7E492C9F957C}">
      <dsp:nvSpPr>
        <dsp:cNvPr id="0" name=""/>
        <dsp:cNvSpPr/>
      </dsp:nvSpPr>
      <dsp:spPr>
        <a:xfrm>
          <a:off x="1319214" y="1557615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Request for Check book</a:t>
          </a:r>
          <a:endParaRPr lang="en-IN" sz="1200" kern="1200" dirty="0"/>
        </a:p>
      </dsp:txBody>
      <dsp:txXfrm>
        <a:off x="1340303" y="1578704"/>
        <a:ext cx="857841" cy="677837"/>
      </dsp:txXfrm>
    </dsp:sp>
    <dsp:sp modelId="{4F41A354-717E-4289-9885-C2E2F256F905}">
      <dsp:nvSpPr>
        <dsp:cNvPr id="0" name=""/>
        <dsp:cNvSpPr/>
      </dsp:nvSpPr>
      <dsp:spPr>
        <a:xfrm rot="627784">
          <a:off x="2415662" y="497877"/>
          <a:ext cx="721738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06ED78B-8318-45B9-BA8A-B7670E799923}">
      <dsp:nvSpPr>
        <dsp:cNvPr id="0" name=""/>
        <dsp:cNvSpPr/>
      </dsp:nvSpPr>
      <dsp:spPr>
        <a:xfrm>
          <a:off x="2681390" y="338407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Fund Transfer</a:t>
          </a:r>
          <a:endParaRPr lang="en-IN" sz="1200" kern="1200" dirty="0"/>
        </a:p>
      </dsp:txBody>
      <dsp:txXfrm>
        <a:off x="2702479" y="359496"/>
        <a:ext cx="857841" cy="677837"/>
      </dsp:txXfrm>
    </dsp:sp>
    <dsp:sp modelId="{C2828057-5F65-4707-A76C-46A6588FAB93}">
      <dsp:nvSpPr>
        <dsp:cNvPr id="0" name=""/>
        <dsp:cNvSpPr/>
      </dsp:nvSpPr>
      <dsp:spPr>
        <a:xfrm rot="3045917">
          <a:off x="2033243" y="1237903"/>
          <a:ext cx="1231161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6349CBE-CB7C-48FD-83C3-D60F2DB8658D}">
      <dsp:nvSpPr>
        <dsp:cNvPr id="0" name=""/>
        <dsp:cNvSpPr/>
      </dsp:nvSpPr>
      <dsp:spPr>
        <a:xfrm>
          <a:off x="2588168" y="1489703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Track Service Request</a:t>
          </a:r>
          <a:endParaRPr lang="en-IN" sz="1200" kern="1200" dirty="0"/>
        </a:p>
      </dsp:txBody>
      <dsp:txXfrm>
        <a:off x="2609257" y="1510792"/>
        <a:ext cx="857841" cy="67783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62937" y="0"/>
          <a:ext cx="977283" cy="9772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Admin</a:t>
          </a:r>
          <a:endParaRPr lang="en-IN" sz="1900" kern="1200" dirty="0"/>
        </a:p>
      </dsp:txBody>
      <dsp:txXfrm>
        <a:off x="1206057" y="143120"/>
        <a:ext cx="691043" cy="691043"/>
      </dsp:txXfrm>
    </dsp:sp>
    <dsp:sp modelId="{6C299B1E-FF91-4041-B597-AC7D7E336DDB}">
      <dsp:nvSpPr>
        <dsp:cNvPr id="0" name=""/>
        <dsp:cNvSpPr/>
      </dsp:nvSpPr>
      <dsp:spPr>
        <a:xfrm rot="8476842">
          <a:off x="396510" y="943835"/>
          <a:ext cx="827157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23196" y="970426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Create new account</a:t>
          </a:r>
          <a:endParaRPr lang="en-IN" sz="1300" kern="1200" dirty="0"/>
        </a:p>
      </dsp:txBody>
      <dsp:txXfrm>
        <a:off x="44950" y="992180"/>
        <a:ext cx="884911" cy="699227"/>
      </dsp:txXfrm>
    </dsp:sp>
    <dsp:sp modelId="{BC821710-D8D6-44B3-AE70-1FB80AE0FF86}">
      <dsp:nvSpPr>
        <dsp:cNvPr id="0" name=""/>
        <dsp:cNvSpPr/>
      </dsp:nvSpPr>
      <dsp:spPr>
        <a:xfrm rot="2439696">
          <a:off x="1862869" y="949854"/>
          <a:ext cx="775550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080589" y="970420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View overall transactions</a:t>
          </a:r>
          <a:endParaRPr lang="en-IN" sz="1300" kern="1200" dirty="0"/>
        </a:p>
      </dsp:txBody>
      <dsp:txXfrm>
        <a:off x="2102343" y="992174"/>
        <a:ext cx="884911" cy="69922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4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USECASE_OnlineBanking.docx" TargetMode="Externa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AMS_Admin_Accept_Reject.docx" TargetMode="External"/><Relationship Id="rId3" Type="http://schemas.openxmlformats.org/officeDocument/2006/relationships/hyperlink" Target="Usecase_User.uml" TargetMode="External"/><Relationship Id="rId7" Type="http://schemas.openxmlformats.org/officeDocument/2006/relationships/hyperlink" Target="AMS_Admin_ViewAsset.docx" TargetMode="External"/><Relationship Id="rId2" Type="http://schemas.openxmlformats.org/officeDocument/2006/relationships/hyperlink" Target="Usecase_Admin.uml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AMS_Admin_DeleteAsset.docx" TargetMode="External"/><Relationship Id="rId5" Type="http://schemas.openxmlformats.org/officeDocument/2006/relationships/hyperlink" Target="AMS_Admin_ModifyAsset.docx" TargetMode="External"/><Relationship Id="rId4" Type="http://schemas.openxmlformats.org/officeDocument/2006/relationships/hyperlink" Target="AMS_Admin_AddAsset.docx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DefectReport_OnlineBanking.xlsx" TargetMode="Externa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ndafile:8081/OnlineBankingProjectSpring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hyperlink" Target="Project_TestCase_Online.xlsx" TargetMode="Externa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RVFD%20for%20online%20banking_project.xlsx" TargetMode="Externa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9" Type="http://schemas.openxmlformats.org/officeDocument/2006/relationships/diagramLayout" Target="../diagrams/layout10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34" Type="http://schemas.openxmlformats.org/officeDocument/2006/relationships/diagramLayout" Target="../diagrams/layout9.xml"/><Relationship Id="rId42" Type="http://schemas.microsoft.com/office/2007/relationships/diagramDrawing" Target="../diagrams/drawing10.xml"/><Relationship Id="rId47" Type="http://schemas.microsoft.com/office/2007/relationships/diagramDrawing" Target="../diagrams/drawing11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33" Type="http://schemas.openxmlformats.org/officeDocument/2006/relationships/diagramData" Target="../diagrams/data9.xml"/><Relationship Id="rId38" Type="http://schemas.openxmlformats.org/officeDocument/2006/relationships/diagramData" Target="../diagrams/data10.xml"/><Relationship Id="rId46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29" Type="http://schemas.openxmlformats.org/officeDocument/2006/relationships/diagramLayout" Target="../diagrams/layout8.xml"/><Relationship Id="rId41" Type="http://schemas.openxmlformats.org/officeDocument/2006/relationships/diagramColors" Target="../diagrams/colors10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32" Type="http://schemas.microsoft.com/office/2007/relationships/diagramDrawing" Target="../diagrams/drawing8.xml"/><Relationship Id="rId37" Type="http://schemas.microsoft.com/office/2007/relationships/diagramDrawing" Target="../diagrams/drawing9.xml"/><Relationship Id="rId40" Type="http://schemas.openxmlformats.org/officeDocument/2006/relationships/diagramQuickStyle" Target="../diagrams/quickStyle10.xml"/><Relationship Id="rId45" Type="http://schemas.openxmlformats.org/officeDocument/2006/relationships/diagramQuickStyle" Target="../diagrams/quickStyle11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28" Type="http://schemas.openxmlformats.org/officeDocument/2006/relationships/diagramData" Target="../diagrams/data8.xml"/><Relationship Id="rId36" Type="http://schemas.openxmlformats.org/officeDocument/2006/relationships/diagramColors" Target="../diagrams/colors9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31" Type="http://schemas.openxmlformats.org/officeDocument/2006/relationships/diagramColors" Target="../diagrams/colors8.xml"/><Relationship Id="rId44" Type="http://schemas.openxmlformats.org/officeDocument/2006/relationships/diagramLayout" Target="../diagrams/layout11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Relationship Id="rId30" Type="http://schemas.openxmlformats.org/officeDocument/2006/relationships/diagramQuickStyle" Target="../diagrams/quickStyle8.xml"/><Relationship Id="rId35" Type="http://schemas.openxmlformats.org/officeDocument/2006/relationships/diagramQuickStyle" Target="../diagrams/quickStyle9.xml"/><Relationship Id="rId43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Online Banking System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4"/>
          </a:xfrm>
        </p:spPr>
        <p:txBody>
          <a:bodyPr/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A</a:t>
            </a:r>
            <a:r>
              <a:rPr lang="en-US" sz="2400" b="0" dirty="0">
                <a:solidFill>
                  <a:schemeClr val="tx1"/>
                </a:solidFill>
              </a:rPr>
              <a:t> use case is a written description of how users will perform tasks on </a:t>
            </a:r>
            <a:r>
              <a:rPr lang="en-US" sz="2400" b="0" dirty="0" smtClean="0">
                <a:solidFill>
                  <a:schemeClr val="tx1"/>
                </a:solidFill>
              </a:rPr>
              <a:t> </a:t>
            </a:r>
            <a:r>
              <a:rPr lang="en-US" sz="2400" b="0" dirty="0">
                <a:solidFill>
                  <a:schemeClr val="tx1"/>
                </a:solidFill>
              </a:rPr>
              <a:t>website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 smtClean="0">
                <a:solidFill>
                  <a:schemeClr val="tx1"/>
                </a:solidFill>
              </a:rPr>
              <a:t>A </a:t>
            </a:r>
            <a:r>
              <a:rPr lang="en-US" sz="2400" b="0" dirty="0">
                <a:solidFill>
                  <a:schemeClr val="tx1"/>
                </a:solidFill>
              </a:rPr>
              <a:t>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goal are sometimes considered to be synonymous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marL="0" indent="0">
              <a:buNone/>
            </a:pPr>
            <a:endParaRPr lang="en-US" sz="2400" b="0" dirty="0" smtClean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sz="2400" dirty="0" err="1" smtClean="0">
                <a:solidFill>
                  <a:srgbClr val="00B0F0"/>
                </a:solidFill>
              </a:rPr>
              <a:t>LINK:</a:t>
            </a:r>
            <a:r>
              <a:rPr lang="en-US" sz="2400" dirty="0" err="1" smtClean="0">
                <a:solidFill>
                  <a:srgbClr val="00B0F0"/>
                </a:solidFill>
                <a:hlinkClick r:id="rId2" action="ppaction://hlinkfile"/>
              </a:rPr>
              <a:t>USECASE_OnlineBanking.docx</a:t>
            </a:r>
            <a:endParaRPr lang="en-US" sz="24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USE CASES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990600"/>
            <a:ext cx="8077200" cy="5486400"/>
          </a:xfrm>
        </p:spPr>
      </p:pic>
    </p:spTree>
    <p:extLst>
      <p:ext uri="{BB962C8B-B14F-4D97-AF65-F5344CB8AC3E}">
        <p14:creationId xmlns:p14="http://schemas.microsoft.com/office/powerpoint/2010/main" val="2609208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 – USER 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850" y="1143000"/>
            <a:ext cx="6991350" cy="4949031"/>
          </a:xfrm>
        </p:spPr>
      </p:pic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DIAGRAM - ADMI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380" y="1219200"/>
            <a:ext cx="7404619" cy="4906963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8792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2" action="ppaction://hlinkfile"/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Admin Login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 User Login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:</a:t>
            </a:r>
          </a:p>
          <a:p>
            <a:pPr>
              <a:lnSpc>
                <a:spcPct val="150000"/>
              </a:lnSpc>
            </a:pPr>
            <a:r>
              <a:rPr lang="en-US" b="0" smtClean="0">
                <a:solidFill>
                  <a:schemeClr val="tx1"/>
                </a:solidFill>
                <a:hlinkClick r:id="rId4" action="ppaction://hlinkfile"/>
              </a:rPr>
              <a:t>User </a:t>
            </a:r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View mini/detailed statement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User Request add details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6" action="ppaction://hlinkfile"/>
              </a:rPr>
              <a:t> User Request Check book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7" action="ppaction://hlinkfile"/>
              </a:rPr>
              <a:t>User track service request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8" action="ppaction://hlinkfile"/>
              </a:rPr>
              <a:t>User fund transfer</a:t>
            </a: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229600" cy="4525963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A defect is an error or a bug, in the application that causes it to produce an incorrect or unexpected results. </a:t>
            </a:r>
          </a:p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A programmer while designing and building the software can make mistake or error.</a:t>
            </a:r>
          </a:p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.</a:t>
            </a:r>
          </a:p>
          <a:p>
            <a:endParaRPr lang="en-US" sz="2900" b="0" dirty="0" smtClean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DefectReport_OnlineBanking.xlsx</a:t>
            </a:r>
            <a:endParaRPr lang="en-US" sz="2400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	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Even after entering the invalid user id and password for more than three times the account is not locked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The account holder name in the registration page is accepting numerical characters.</a:t>
            </a:r>
            <a:endParaRPr lang="en-IN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account type is not checke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Pan doesn’t validate and accepts symbol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account holder is not able to scroll the select bar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</a:t>
            </a:r>
            <a:r>
              <a:rPr lang="en-US" b="0" dirty="0" smtClean="0">
                <a:solidFill>
                  <a:schemeClr val="tx1"/>
                </a:solidFill>
              </a:rPr>
              <a:t>opening balance field is not mandatory and it can be left empty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Secret question is not validated and asks for answer in mandatory</a:t>
            </a:r>
            <a:r>
              <a:rPr lang="en-US" b="0" dirty="0">
                <a:solidFill>
                  <a:schemeClr val="tx1"/>
                </a:solidFill>
              </a:rPr>
              <a:t>.</a:t>
            </a:r>
            <a:endParaRPr lang="en-US" b="0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account holder is not able to scroll the select bar for selecting select questio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</a:t>
            </a:r>
            <a:r>
              <a:rPr lang="en-US" b="0" dirty="0">
                <a:solidFill>
                  <a:schemeClr val="tx1"/>
                </a:solidFill>
              </a:rPr>
              <a:t>account holder is not able to view the transactions by click view </a:t>
            </a:r>
            <a:r>
              <a:rPr lang="en-US" b="0" dirty="0" smtClean="0">
                <a:solidFill>
                  <a:schemeClr val="tx1"/>
                </a:solidFill>
              </a:rPr>
              <a:t>Transaction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</a:t>
            </a:r>
            <a:r>
              <a:rPr lang="en-US" b="0" dirty="0">
                <a:solidFill>
                  <a:schemeClr val="tx1"/>
                </a:solidFill>
              </a:rPr>
              <a:t>Mini/Detailed statements are not present in account holder </a:t>
            </a:r>
            <a:r>
              <a:rPr lang="en-US" b="0" dirty="0" smtClean="0">
                <a:solidFill>
                  <a:schemeClr val="tx1"/>
                </a:solidFill>
              </a:rPr>
              <a:t>pag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registration page is </a:t>
            </a:r>
            <a:r>
              <a:rPr lang="en-US" b="0" dirty="0" smtClean="0">
                <a:solidFill>
                  <a:schemeClr val="tx1"/>
                </a:solidFill>
              </a:rPr>
              <a:t>showing </a:t>
            </a:r>
            <a:r>
              <a:rPr lang="en-US" b="0" dirty="0">
                <a:solidFill>
                  <a:schemeClr val="tx1"/>
                </a:solidFill>
              </a:rPr>
              <a:t>the pan card is already existing for every new </a:t>
            </a:r>
            <a:r>
              <a:rPr lang="en-US" b="0" dirty="0" smtClean="0">
                <a:solidFill>
                  <a:schemeClr val="tx1"/>
                </a:solidFill>
              </a:rPr>
              <a:t>account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pan card is validating when it left with </a:t>
            </a:r>
            <a:r>
              <a:rPr lang="en-US" b="0" dirty="0" smtClean="0">
                <a:solidFill>
                  <a:schemeClr val="tx1"/>
                </a:solidFill>
              </a:rPr>
              <a:t>blank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7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User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ect snapshots: User Name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968923"/>
            <a:ext cx="8229600" cy="3788516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5625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 smtClean="0"/>
              <a:t>Contd.</a:t>
            </a:r>
            <a:br>
              <a:rPr lang="en-US" dirty="0" smtClean="0"/>
            </a:br>
            <a:r>
              <a:rPr lang="en-US" dirty="0" smtClean="0"/>
              <a:t>PAN Defect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514600"/>
            <a:ext cx="8229600" cy="3864493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3340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R . SARULATHA (150943)</a:t>
            </a:r>
          </a:p>
          <a:p>
            <a:pPr>
              <a:lnSpc>
                <a:spcPct val="200000"/>
              </a:lnSpc>
            </a:pPr>
            <a:r>
              <a:rPr lang="en-IN" dirty="0">
                <a:solidFill>
                  <a:schemeClr val="tx1"/>
                </a:solidFill>
              </a:rPr>
              <a:t>JAHNAVI </a:t>
            </a:r>
            <a:r>
              <a:rPr lang="en-IN">
                <a:solidFill>
                  <a:schemeClr val="tx1"/>
                </a:solidFill>
              </a:rPr>
              <a:t>KANTHAMNENI </a:t>
            </a:r>
            <a:r>
              <a:rPr lang="en-IN" smtClean="0">
                <a:solidFill>
                  <a:schemeClr val="tx1"/>
                </a:solidFill>
              </a:rPr>
              <a:t>(150763)</a:t>
            </a:r>
            <a:endParaRPr lang="en-IN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KUNCHA SWATHI (150782)</a:t>
            </a: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UDDARAJU GEETHIKA (150757)</a:t>
            </a: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VANDANAPU BHAVYA (150760)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 smtClean="0"/>
              <a:t>Contd.</a:t>
            </a:r>
            <a:br>
              <a:rPr lang="en-US" dirty="0" smtClean="0"/>
            </a:br>
            <a:r>
              <a:rPr lang="en-US" dirty="0" smtClean="0"/>
              <a:t>Email Defect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912620"/>
            <a:ext cx="8229600" cy="3901123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1685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763640"/>
            <a:ext cx="8420099" cy="447211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409700" y="1054881"/>
            <a:ext cx="601980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 http</a:t>
            </a:r>
            <a:r>
              <a:rPr lang="en-US" u="sng" spc="1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://</a:t>
            </a: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ndafile:8081/OnlineBankingProjectSpring/    </a:t>
            </a: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US" spc="1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93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68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49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0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9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32 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61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1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371600"/>
            <a:ext cx="8229600" cy="4965036"/>
          </a:xfr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b="0" dirty="0" smtClean="0">
                <a:solidFill>
                  <a:schemeClr val="tx1"/>
                </a:solidFill>
              </a:rPr>
              <a:t>This </a:t>
            </a:r>
            <a:r>
              <a:rPr lang="en-US" sz="2000" b="0" dirty="0">
                <a:solidFill>
                  <a:schemeClr val="tx1"/>
                </a:solidFill>
              </a:rPr>
              <a:t>project is aimed at developing an online Banking System (OBS) for Account holders and Bank admin. Online Banking allows account holders to view mini/detailed statements and do fund </a:t>
            </a:r>
            <a:r>
              <a:rPr lang="en-US" sz="2000" b="0" dirty="0" smtClean="0">
                <a:solidFill>
                  <a:schemeClr val="tx1"/>
                </a:solidFill>
              </a:rPr>
              <a:t>transfer. It </a:t>
            </a:r>
            <a:r>
              <a:rPr lang="en-US" sz="2000" b="0" dirty="0">
                <a:solidFill>
                  <a:schemeClr val="tx1"/>
                </a:solidFill>
              </a:rPr>
              <a:t>allows the bank admin to create account and view all transactions on a secure </a:t>
            </a:r>
            <a:r>
              <a:rPr lang="en-US" sz="2000" b="0" dirty="0" smtClean="0">
                <a:solidFill>
                  <a:schemeClr val="tx1"/>
                </a:solidFill>
              </a:rPr>
              <a:t>website.</a:t>
            </a:r>
            <a:endParaRPr lang="en-US" sz="2000" b="0" dirty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2000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ACTOR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Admin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User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733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400" b="0" dirty="0" smtClean="0">
              <a:solidFill>
                <a:schemeClr val="tx1"/>
              </a:solidFill>
            </a:endParaRPr>
          </a:p>
          <a:p>
            <a:pPr algn="just"/>
            <a:r>
              <a:rPr lang="en-US" sz="2400" b="0" dirty="0">
                <a:solidFill>
                  <a:schemeClr val="tx1"/>
                </a:solidFill>
              </a:rPr>
              <a:t>Test case </a:t>
            </a:r>
            <a:r>
              <a:rPr lang="en-US" sz="2400" b="0" dirty="0" smtClean="0">
                <a:solidFill>
                  <a:schemeClr val="tx1"/>
                </a:solidFill>
              </a:rPr>
              <a:t>is </a:t>
            </a:r>
            <a:r>
              <a:rPr lang="en-US" sz="2400" b="0" dirty="0">
                <a:solidFill>
                  <a:schemeClr val="tx1"/>
                </a:solidFill>
              </a:rPr>
              <a:t>the smallest unit of the testing </a:t>
            </a:r>
            <a:r>
              <a:rPr lang="en-US" sz="2400" b="0" dirty="0" smtClean="0">
                <a:solidFill>
                  <a:schemeClr val="tx1"/>
                </a:solidFill>
              </a:rPr>
              <a:t>plan.</a:t>
            </a:r>
          </a:p>
          <a:p>
            <a:pPr algn="just"/>
            <a:r>
              <a:rPr lang="en-US" sz="2400" b="0" dirty="0" smtClean="0">
                <a:solidFill>
                  <a:schemeClr val="tx1"/>
                </a:solidFill>
              </a:rPr>
              <a:t>Test case gives </a:t>
            </a:r>
            <a:r>
              <a:rPr lang="en-US" sz="2400" b="0" dirty="0">
                <a:solidFill>
                  <a:schemeClr val="tx1"/>
                </a:solidFill>
              </a:rPr>
              <a:t>description of necessary actions and parameters to achieve and verify the expected </a:t>
            </a:r>
            <a:r>
              <a:rPr lang="en-US" sz="2400" b="0" dirty="0" smtClean="0">
                <a:solidFill>
                  <a:schemeClr val="tx1"/>
                </a:solidFill>
              </a:rPr>
              <a:t>behavior </a:t>
            </a:r>
            <a:r>
              <a:rPr lang="en-US" sz="2400" b="0" dirty="0">
                <a:solidFill>
                  <a:schemeClr val="tx1"/>
                </a:solidFill>
              </a:rPr>
              <a:t>of a particular function or the part of the tested </a:t>
            </a:r>
            <a:r>
              <a:rPr lang="en-US" sz="2400" b="0" dirty="0" smtClean="0">
                <a:solidFill>
                  <a:schemeClr val="tx1"/>
                </a:solidFill>
              </a:rPr>
              <a:t>software.</a:t>
            </a:r>
          </a:p>
          <a:p>
            <a:pPr algn="just"/>
            <a:r>
              <a:rPr lang="en-US" sz="2400" b="0" dirty="0" smtClean="0">
                <a:solidFill>
                  <a:schemeClr val="tx1"/>
                </a:solidFill>
              </a:rPr>
              <a:t>A </a:t>
            </a:r>
            <a:r>
              <a:rPr lang="en-US" sz="2400" b="0" dirty="0">
                <a:solidFill>
                  <a:schemeClr val="tx1"/>
                </a:solidFill>
              </a:rPr>
              <a:t>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algn="just"/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</a:t>
            </a:r>
            <a:r>
              <a:rPr lang="en-US" sz="2800" dirty="0" smtClean="0">
                <a:hlinkClick r:id="rId3" action="ppaction://hlinkfile"/>
              </a:rPr>
              <a:t>Project_TestCase_Online.xlsx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4246813602"/>
              </p:ext>
            </p:extLst>
          </p:nvPr>
        </p:nvGraphicFramePr>
        <p:xfrm>
          <a:off x="5005386" y="2276872"/>
          <a:ext cx="3681413" cy="31060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624138" y="1688148"/>
            <a:ext cx="2171700" cy="69746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655190669"/>
              </p:ext>
            </p:extLst>
          </p:nvPr>
        </p:nvGraphicFramePr>
        <p:xfrm>
          <a:off x="1043609" y="2445190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RVFD for online banking_project.xlsx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" name="Straight Arrow Connector 2"/>
          <p:cNvCxnSpPr/>
          <p:nvPr/>
        </p:nvCxnSpPr>
        <p:spPr>
          <a:xfrm flipH="1" flipV="1">
            <a:off x="3352801" y="2017594"/>
            <a:ext cx="722638" cy="8138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51</TotalTime>
  <Words>741</Words>
  <Application>Microsoft Office PowerPoint</Application>
  <PresentationFormat>On-screen Show (4:3)</PresentationFormat>
  <Paragraphs>152</Paragraphs>
  <Slides>26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8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                                            ACTORS</vt:lpstr>
      <vt:lpstr>PowerPoint Presentation</vt:lpstr>
      <vt:lpstr>Link :Project_TestCase_Online.xlsx</vt:lpstr>
      <vt:lpstr>REQUIREMENT  ITEMIZATION</vt:lpstr>
      <vt:lpstr>PowerPoint Presentation</vt:lpstr>
      <vt:lpstr>USE CASES</vt:lpstr>
      <vt:lpstr>USE CASES</vt:lpstr>
      <vt:lpstr>USE CASE DIAGRAM – USER </vt:lpstr>
      <vt:lpstr>USE CASE DIAGRAM - ADMIN</vt:lpstr>
      <vt:lpstr>USE CASE HYPERLINKS</vt:lpstr>
      <vt:lpstr>DFDR</vt:lpstr>
      <vt:lpstr>DEFECTS FOUND</vt:lpstr>
      <vt:lpstr>DEFECTS FOUND</vt:lpstr>
      <vt:lpstr>Defect snapshots: User Name</vt:lpstr>
      <vt:lpstr>Contd. PAN Defect</vt:lpstr>
      <vt:lpstr>Contd. Email Defect</vt:lpstr>
      <vt:lpstr>PowerPoint Presentation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R, Sarulatha</cp:lastModifiedBy>
  <cp:revision>213</cp:revision>
  <dcterms:created xsi:type="dcterms:W3CDTF">2015-08-27T08:52:20Z</dcterms:created>
  <dcterms:modified xsi:type="dcterms:W3CDTF">2018-07-24T12:22:45Z</dcterms:modified>
</cp:coreProperties>
</file>